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444444"/>
    <a:srgbClr val="F6F6F6"/>
    <a:srgbClr val="E5E5E5"/>
    <a:srgbClr val="A8A8A8"/>
    <a:srgbClr val="8D8D8D"/>
    <a:srgbClr val="5A5A5A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9:56.846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9:56.846" v="3" actId="27918"/>
        <pc:sldMkLst>
          <pc:docMk/>
          <pc:sldMk cId="204404663" sldId="27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68755506319935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Infrastruktur SBB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1-9EB8-4B3D-A232-F79AE3811776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114</c:v>
                </c:pt>
                <c:pt idx="1">
                  <c:v>2088.5749810000002</c:v>
                </c:pt>
                <c:pt idx="2">
                  <c:v>2128.2936650000001</c:v>
                </c:pt>
                <c:pt idx="3">
                  <c:v>2082.1999999999998</c:v>
                </c:pt>
                <c:pt idx="4">
                  <c:v>2111.3942470000002</c:v>
                </c:pt>
                <c:pt idx="5">
                  <c:v>2147.994831</c:v>
                </c:pt>
                <c:pt idx="6">
                  <c:v>2088.83</c:v>
                </c:pt>
                <c:pt idx="7">
                  <c:v>2097.6860000000001</c:v>
                </c:pt>
                <c:pt idx="8">
                  <c:v>2142.5936740000002</c:v>
                </c:pt>
                <c:pt idx="9">
                  <c:v>2067.431693</c:v>
                </c:pt>
                <c:pt idx="10">
                  <c:v>2033</c:v>
                </c:pt>
                <c:pt idx="11">
                  <c:v>2013</c:v>
                </c:pt>
                <c:pt idx="12">
                  <c:v>1890</c:v>
                </c:pt>
                <c:pt idx="13">
                  <c:v>2002.1310000000001</c:v>
                </c:pt>
                <c:pt idx="14">
                  <c:v>2048.1</c:v>
                </c:pt>
                <c:pt idx="15">
                  <c:v>2027.175</c:v>
                </c:pt>
                <c:pt idx="16">
                  <c:v>2043.8779999999999</c:v>
                </c:pt>
                <c:pt idx="17">
                  <c:v>2061.53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andere Infrastruktur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0-9EB8-4B3D-A232-F79AE3811776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303</c:v>
                </c:pt>
                <c:pt idx="1">
                  <c:v>302.17247499999985</c:v>
                </c:pt>
                <c:pt idx="2">
                  <c:v>299.80456299999969</c:v>
                </c:pt>
                <c:pt idx="3">
                  <c:v>298.90000000000009</c:v>
                </c:pt>
                <c:pt idx="4">
                  <c:v>298.41561400000001</c:v>
                </c:pt>
                <c:pt idx="5">
                  <c:v>293.65079300000025</c:v>
                </c:pt>
                <c:pt idx="6">
                  <c:v>291.939257</c:v>
                </c:pt>
                <c:pt idx="7">
                  <c:v>313.54700000000003</c:v>
                </c:pt>
                <c:pt idx="8">
                  <c:v>315.29860999999983</c:v>
                </c:pt>
                <c:pt idx="9">
                  <c:v>321.77498900000001</c:v>
                </c:pt>
                <c:pt idx="10">
                  <c:v>306.40000000000009</c:v>
                </c:pt>
                <c:pt idx="11">
                  <c:v>299.5</c:v>
                </c:pt>
                <c:pt idx="12">
                  <c:v>267.40000000000009</c:v>
                </c:pt>
                <c:pt idx="13">
                  <c:v>273.34500000000003</c:v>
                </c:pt>
                <c:pt idx="14">
                  <c:v>264.26099999999997</c:v>
                </c:pt>
                <c:pt idx="15">
                  <c:v>271.90499999999997</c:v>
                </c:pt>
                <c:pt idx="16">
                  <c:v>270.11500000000001</c:v>
                </c:pt>
                <c:pt idx="17">
                  <c:v>265.62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Anteil erneuerbarer Energieträger am Bahnstrom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4.3</c:v>
                </c:pt>
                <c:pt idx="1">
                  <c:v>76.5</c:v>
                </c:pt>
                <c:pt idx="2">
                  <c:v>81.872506960903706</c:v>
                </c:pt>
                <c:pt idx="3">
                  <c:v>73</c:v>
                </c:pt>
                <c:pt idx="4">
                  <c:v>83.5</c:v>
                </c:pt>
                <c:pt idx="5">
                  <c:v>100</c:v>
                </c:pt>
                <c:pt idx="6">
                  <c:v>97.1</c:v>
                </c:pt>
                <c:pt idx="7">
                  <c:v>99.11</c:v>
                </c:pt>
                <c:pt idx="8">
                  <c:v>91.9</c:v>
                </c:pt>
                <c:pt idx="9">
                  <c:v>91.4</c:v>
                </c:pt>
                <c:pt idx="10">
                  <c:v>99.209195584327205</c:v>
                </c:pt>
                <c:pt idx="11">
                  <c:v>95.5</c:v>
                </c:pt>
                <c:pt idx="12">
                  <c:v>91.06</c:v>
                </c:pt>
                <c:pt idx="13">
                  <c:v>90.24</c:v>
                </c:pt>
                <c:pt idx="14">
                  <c:v>90.26</c:v>
                </c:pt>
                <c:pt idx="15">
                  <c:v>91.84</c:v>
                </c:pt>
                <c:pt idx="16">
                  <c:v>91.3</c:v>
                </c:pt>
                <c:pt idx="17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444444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5489360317563613E-2"/>
          <c:y val="0.91682336747865822"/>
          <c:w val="0.8257502006464067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266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9330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hnstromverbrauch und Anteil erneuerbare Energien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59180562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54943" y="5546588"/>
            <a:ext cx="4766463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n SBB Infrastruktur Energie für den Zugverkehr abgegebener Bahnstrom an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39D949-91D0-4C09-9A11-DF45745A68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ahnstromverbrauch und Anteil erneuerbare Energie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stromverbrauch und Anteil erneuerbare Energien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